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6"/>
  </p:notesMasterIdLst>
  <p:handoutMasterIdLst>
    <p:handoutMasterId r:id="rId47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1" r:id="rId42"/>
    <p:sldId id="312" r:id="rId43"/>
    <p:sldId id="313" r:id="rId44"/>
    <p:sldId id="268" r:id="rId45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1"/>
            <p14:sldId id="312"/>
            <p14:sldId id="313"/>
            <p14:sldId id="2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>
        <p:scale>
          <a:sx n="90" d="100"/>
          <a:sy n="90" d="100"/>
        </p:scale>
        <p:origin x="-840" y="-102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Psychotherapists of New York City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  <a:endParaRPr lang="en-US" sz="140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they speak 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  <a:endParaRPr lang="en-US" sz="14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</a:t>
            </a: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</a:t>
            </a: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  <a:endParaRPr lang="en-US" sz="14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</a:t>
            </a: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</a:t>
            </a: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</a:t>
            </a: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rther insights can be gained from the data s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urther, if one collects additional data on number of people working in each zip code, the causes for therapist numbers per zip code could be further </a:t>
            </a:r>
            <a:r>
              <a:rPr lang="en-US" dirty="0" err="1" smtClean="0"/>
              <a:t>eluminated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considering opening a practice in a given zip code could gain valuable insights that could have marketing implication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n 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AB0903-C811-4386-89A0-517F35E2B28C}">
  <ds:schemaRefs>
    <ds:schemaRef ds:uri="http://schemas.microsoft.com/office/2006/metadata/properties"/>
    <ds:schemaRef ds:uri="http://purl.org/dc/elements/1.1/"/>
    <ds:schemaRef ds:uri="fdaf2857-34a0-4271-9efd-53feeda81814"/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microsoft.com/sharepoint/v3"/>
    <ds:schemaRef ds:uri="http://schemas.microsoft.com/office/infopath/2007/PartnerControls"/>
    <ds:schemaRef ds:uri="http://schemas.openxmlformats.org/package/2006/metadata/core-properties"/>
    <ds:schemaRef ds:uri="eaa6d935-851e-4683-8fb3-4830ef9470e6"/>
  </ds:schemaRefs>
</ds:datastoreItem>
</file>

<file path=customXml/itemProps2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261</TotalTime>
  <Words>1013</Words>
  <Application>Microsoft Office PowerPoint</Application>
  <PresentationFormat>On-screen Show (16:9)</PresentationFormat>
  <Paragraphs>146</Paragraphs>
  <Slides>41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2" baseType="lpstr"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Zip codes with the highest “density” of therapists</vt:lpstr>
      <vt:lpstr>Zip codes with the lowest “density” of therapists</vt:lpstr>
      <vt:lpstr>Further insights can be gained from the data set</vt:lpstr>
      <vt:lpstr>Questions?</vt:lpstr>
    </vt:vector>
  </TitlesOfParts>
  <Company>GF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58</cp:revision>
  <cp:lastPrinted>2011-09-08T07:53:45Z</cp:lastPrinted>
  <dcterms:created xsi:type="dcterms:W3CDTF">2017-10-22T12:54:41Z</dcterms:created>
  <dcterms:modified xsi:type="dcterms:W3CDTF">2017-10-22T17:1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